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83" r:id="rId2"/>
    <p:sldId id="284" r:id="rId3"/>
    <p:sldId id="285" r:id="rId4"/>
    <p:sldId id="286" r:id="rId5"/>
    <p:sldId id="287" r:id="rId6"/>
    <p:sldId id="288" r:id="rId7"/>
    <p:sldId id="289" r:id="rId8"/>
    <p:sldId id="290" r:id="rId9"/>
    <p:sldId id="291" r:id="rId10"/>
    <p:sldId id="292" r:id="rId11"/>
  </p:sldIdLst>
  <p:sldSz cx="12192000" cy="6858000"/>
  <p:notesSz cx="6858000" cy="9144000"/>
  <p:custDataLst>
    <p:tags r:id="rId12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4588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357FF"/>
    <a:srgbClr val="FF8828"/>
    <a:srgbClr val="CE4668"/>
    <a:srgbClr val="3CFD84"/>
    <a:srgbClr val="7048DC"/>
    <a:srgbClr val="19D1FF"/>
    <a:srgbClr val="25D366"/>
    <a:srgbClr val="A94568"/>
    <a:srgbClr val="563D8E"/>
    <a:srgbClr val="1BA1F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111" d="100"/>
          <a:sy n="111" d="100"/>
        </p:scale>
        <p:origin x="456" y="114"/>
      </p:cViewPr>
      <p:guideLst>
        <p:guide orient="horz" pos="2160"/>
        <p:guide pos="4588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E8EC68-88B5-40E4-9942-900EA9948235}" type="datetimeFigureOut">
              <a:rPr lang="ru-RU" smtClean="0"/>
              <a:t>01.09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48E077-0E8E-416A-A478-C56108F7336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9437917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E8EC68-88B5-40E4-9942-900EA9948235}" type="datetimeFigureOut">
              <a:rPr lang="ru-RU" smtClean="0"/>
              <a:t>01.09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48E077-0E8E-416A-A478-C56108F7336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9152956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E8EC68-88B5-40E4-9942-900EA9948235}" type="datetimeFigureOut">
              <a:rPr lang="ru-RU" smtClean="0"/>
              <a:t>01.09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48E077-0E8E-416A-A478-C56108F7336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6128911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E8EC68-88B5-40E4-9942-900EA9948235}" type="datetimeFigureOut">
              <a:rPr lang="ru-RU" smtClean="0"/>
              <a:t>01.09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48E077-0E8E-416A-A478-C56108F7336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7205153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E8EC68-88B5-40E4-9942-900EA9948235}" type="datetimeFigureOut">
              <a:rPr lang="ru-RU" smtClean="0"/>
              <a:t>01.09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48E077-0E8E-416A-A478-C56108F7336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4140479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E8EC68-88B5-40E4-9942-900EA9948235}" type="datetimeFigureOut">
              <a:rPr lang="ru-RU" smtClean="0"/>
              <a:t>01.09.202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48E077-0E8E-416A-A478-C56108F7336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963440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E8EC68-88B5-40E4-9942-900EA9948235}" type="datetimeFigureOut">
              <a:rPr lang="ru-RU" smtClean="0"/>
              <a:t>01.09.2025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48E077-0E8E-416A-A478-C56108F7336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9572259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E8EC68-88B5-40E4-9942-900EA9948235}" type="datetimeFigureOut">
              <a:rPr lang="ru-RU" smtClean="0"/>
              <a:t>01.09.2025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48E077-0E8E-416A-A478-C56108F7336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010228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E8EC68-88B5-40E4-9942-900EA9948235}" type="datetimeFigureOut">
              <a:rPr lang="ru-RU" smtClean="0"/>
              <a:t>01.09.2025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48E077-0E8E-416A-A478-C56108F7336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0585147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E8EC68-88B5-40E4-9942-900EA9948235}" type="datetimeFigureOut">
              <a:rPr lang="ru-RU" smtClean="0"/>
              <a:t>01.09.202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48E077-0E8E-416A-A478-C56108F7336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9634187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E8EC68-88B5-40E4-9942-900EA9948235}" type="datetimeFigureOut">
              <a:rPr lang="ru-RU" smtClean="0"/>
              <a:t>01.09.202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48E077-0E8E-416A-A478-C56108F7336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829790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40956683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9" name="Слайд think-cell" r:id="rId16" imgW="360" imgH="360" progId="TCLayout.ActiveDocument.1">
                  <p:embed/>
                </p:oleObj>
              </mc:Choice>
              <mc:Fallback>
                <p:oleObj name="Слайд think-cell" r:id="rId16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ru-RU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6E8EC68-88B5-40E4-9942-900EA9948235}" type="datetimeFigureOut">
              <a:rPr lang="ru-RU" smtClean="0"/>
              <a:t>01.09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E48E077-0E8E-416A-A478-C56108F7336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485805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flipH="1" flipV="1">
            <a:off x="4177694" y="0"/>
            <a:ext cx="7766612" cy="6627510"/>
          </a:xfrm>
          <a:prstGeom prst="rect">
            <a:avLst/>
          </a:prstGeom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6086" y="164309"/>
            <a:ext cx="4395597" cy="6529382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4681765" y="955541"/>
            <a:ext cx="553878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000" dirty="0" smtClean="0">
                <a:solidFill>
                  <a:schemeClr val="bg1"/>
                </a:solidFill>
                <a:latin typeface="Beeline Sans Black" panose="020B0A00040202020204" pitchFamily="34" charset="-52"/>
              </a:rPr>
              <a:t>1</a:t>
            </a:r>
            <a:endParaRPr lang="ru-RU" sz="4000" dirty="0">
              <a:solidFill>
                <a:schemeClr val="bg1"/>
              </a:solidFill>
              <a:latin typeface="Beeline Sans Black" panose="020B0A00040202020204" pitchFamily="34" charset="-52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607131" y="1950218"/>
            <a:ext cx="4520453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4000" dirty="0">
                <a:solidFill>
                  <a:srgbClr val="000000"/>
                </a:solidFill>
                <a:latin typeface="Beeline Sans" panose="020B0500040202020204" pitchFamily="34" charset="-52"/>
              </a:rPr>
              <a:t>в открывшемся чат-боте </a:t>
            </a:r>
            <a:r>
              <a:rPr lang="ru-RU" sz="4000" dirty="0" smtClean="0">
                <a:solidFill>
                  <a:srgbClr val="000000"/>
                </a:solidFill>
                <a:latin typeface="Beeline Sans" panose="020B0500040202020204" pitchFamily="34" charset="-52"/>
              </a:rPr>
              <a:t>Телеграм</a:t>
            </a:r>
            <a:endParaRPr lang="ru-RU" sz="4000" dirty="0">
              <a:solidFill>
                <a:srgbClr val="000000"/>
              </a:solidFill>
              <a:latin typeface="Beeline Sans" panose="020B0500040202020204" pitchFamily="34" charset="-52"/>
            </a:endParaRPr>
          </a:p>
          <a:p>
            <a:pPr algn="ctr"/>
            <a:r>
              <a:rPr lang="ru-RU" sz="4000" dirty="0">
                <a:solidFill>
                  <a:srgbClr val="000000"/>
                </a:solidFill>
                <a:latin typeface="Beeline Sans" panose="020B0500040202020204" pitchFamily="34" charset="-52"/>
              </a:rPr>
              <a:t>нажать «СТАРТ»</a:t>
            </a:r>
            <a:endParaRPr lang="ru-RU" sz="4000" dirty="0">
              <a:latin typeface="Beeline Sans" panose="020B0500040202020204" pitchFamily="34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209846289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flipH="1" flipV="1">
            <a:off x="4177694" y="0"/>
            <a:ext cx="7766612" cy="6627510"/>
          </a:xfrm>
          <a:prstGeom prst="rect">
            <a:avLst/>
          </a:prstGeom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05219" y="173361"/>
            <a:ext cx="4377327" cy="6511276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4681765" y="955541"/>
            <a:ext cx="553878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000" dirty="0" smtClean="0">
                <a:solidFill>
                  <a:schemeClr val="bg1"/>
                </a:solidFill>
                <a:latin typeface="Beeline Sans Black" panose="020B0A00040202020204" pitchFamily="34" charset="-52"/>
              </a:rPr>
              <a:t>3</a:t>
            </a:r>
            <a:endParaRPr lang="ru-RU" sz="4000" dirty="0">
              <a:solidFill>
                <a:schemeClr val="bg1"/>
              </a:solidFill>
              <a:latin typeface="Beeline Sans Black" panose="020B0A00040202020204" pitchFamily="34" charset="-52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358815" y="1950218"/>
            <a:ext cx="4722470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4000" dirty="0">
                <a:solidFill>
                  <a:srgbClr val="000000"/>
                </a:solidFill>
                <a:latin typeface="Beeline Sans" panose="020B0500040202020204" pitchFamily="34" charset="-52"/>
              </a:rPr>
              <a:t>чтобы </a:t>
            </a:r>
            <a:r>
              <a:rPr lang="ru-RU" sz="4000" dirty="0" smtClean="0">
                <a:solidFill>
                  <a:srgbClr val="000000"/>
                </a:solidFill>
                <a:latin typeface="Beeline Sans" panose="020B0500040202020204" pitchFamily="34" charset="-52"/>
              </a:rPr>
              <a:t>воспользоваться</a:t>
            </a:r>
            <a:br>
              <a:rPr lang="ru-RU" sz="4000" dirty="0" smtClean="0">
                <a:solidFill>
                  <a:srgbClr val="000000"/>
                </a:solidFill>
                <a:latin typeface="Beeline Sans" panose="020B0500040202020204" pitchFamily="34" charset="-52"/>
              </a:rPr>
            </a:br>
            <a:r>
              <a:rPr lang="ru-RU" sz="4000" dirty="0" smtClean="0">
                <a:solidFill>
                  <a:srgbClr val="000000"/>
                </a:solidFill>
                <a:latin typeface="Beeline Sans" panose="020B0500040202020204" pitchFamily="34" charset="-52"/>
              </a:rPr>
              <a:t>ИИ </a:t>
            </a:r>
            <a:r>
              <a:rPr lang="ru-RU" sz="4000" dirty="0">
                <a:solidFill>
                  <a:srgbClr val="000000"/>
                </a:solidFill>
                <a:latin typeface="Beeline Sans" panose="020B0500040202020204" pitchFamily="34" charset="-52"/>
              </a:rPr>
              <a:t>нужно выбрать</a:t>
            </a:r>
          </a:p>
          <a:p>
            <a:pPr algn="ctr"/>
            <a:r>
              <a:rPr lang="ru-RU" sz="4000" dirty="0">
                <a:solidFill>
                  <a:srgbClr val="000000"/>
                </a:solidFill>
                <a:latin typeface="Beeline Sans" panose="020B0500040202020204" pitchFamily="34" charset="-52"/>
              </a:rPr>
              <a:t>«сценарии»</a:t>
            </a:r>
            <a:endParaRPr lang="ru-RU" sz="4000" dirty="0">
              <a:latin typeface="Beeline Sans" panose="020B0500040202020204" pitchFamily="34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388226892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flipH="1" flipV="1">
            <a:off x="4177694" y="0"/>
            <a:ext cx="7766612" cy="6627510"/>
          </a:xfrm>
          <a:prstGeom prst="rect">
            <a:avLst/>
          </a:prstGeom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9134" y="164309"/>
            <a:ext cx="4389500" cy="6529382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4681765" y="955541"/>
            <a:ext cx="553878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000" dirty="0" smtClean="0">
                <a:solidFill>
                  <a:schemeClr val="bg1"/>
                </a:solidFill>
                <a:latin typeface="Beeline Sans Black" panose="020B0A00040202020204" pitchFamily="34" charset="-52"/>
              </a:rPr>
              <a:t>2</a:t>
            </a:r>
            <a:endParaRPr lang="ru-RU" sz="4000" dirty="0">
              <a:solidFill>
                <a:schemeClr val="bg1"/>
              </a:solidFill>
              <a:latin typeface="Beeline Sans Black" panose="020B0A00040202020204" pitchFamily="34" charset="-52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607131" y="1950218"/>
            <a:ext cx="4520453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4000" dirty="0">
                <a:solidFill>
                  <a:srgbClr val="000000"/>
                </a:solidFill>
                <a:latin typeface="Beeline Sans" panose="020B0500040202020204" pitchFamily="34" charset="-52"/>
              </a:rPr>
              <a:t>в ответ на </a:t>
            </a:r>
            <a:r>
              <a:rPr lang="ru-RU" sz="4000" dirty="0" smtClean="0">
                <a:solidFill>
                  <a:srgbClr val="000000"/>
                </a:solidFill>
                <a:latin typeface="Beeline Sans" panose="020B0500040202020204" pitchFamily="34" charset="-52"/>
              </a:rPr>
              <a:t>его запрос выбрать </a:t>
            </a:r>
            <a:r>
              <a:rPr lang="ru-RU" sz="4000" dirty="0">
                <a:solidFill>
                  <a:srgbClr val="000000"/>
                </a:solidFill>
                <a:latin typeface="Beeline Sans" panose="020B0500040202020204" pitchFamily="34" charset="-52"/>
              </a:rPr>
              <a:t>«</a:t>
            </a:r>
            <a:r>
              <a:rPr lang="ru-RU" sz="4000" dirty="0" err="1">
                <a:solidFill>
                  <a:srgbClr val="000000"/>
                </a:solidFill>
                <a:latin typeface="Beeline Sans" panose="020B0500040202020204" pitchFamily="34" charset="-52"/>
              </a:rPr>
              <a:t>Open</a:t>
            </a:r>
            <a:r>
              <a:rPr lang="ru-RU" sz="4000" dirty="0" smtClean="0">
                <a:solidFill>
                  <a:srgbClr val="000000"/>
                </a:solidFill>
                <a:latin typeface="Beeline Sans" panose="020B0500040202020204" pitchFamily="34" charset="-52"/>
              </a:rPr>
              <a:t>» в </a:t>
            </a:r>
            <a:r>
              <a:rPr lang="ru-RU" sz="4000" dirty="0">
                <a:solidFill>
                  <a:srgbClr val="000000"/>
                </a:solidFill>
                <a:latin typeface="Beeline Sans" panose="020B0500040202020204" pitchFamily="34" charset="-52"/>
              </a:rPr>
              <a:t>нижнем правом углу экрана </a:t>
            </a:r>
            <a:endParaRPr lang="ru-RU" sz="4000" dirty="0">
              <a:latin typeface="Beeline Sans" panose="020B0500040202020204" pitchFamily="34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243158643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flipH="1" flipV="1">
            <a:off x="4177694" y="0"/>
            <a:ext cx="7766612" cy="6627510"/>
          </a:xfrm>
          <a:prstGeom prst="rect">
            <a:avLst/>
          </a:prstGeom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9134" y="168837"/>
            <a:ext cx="4389500" cy="6520325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4681765" y="955541"/>
            <a:ext cx="553878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000" dirty="0" smtClean="0">
                <a:solidFill>
                  <a:schemeClr val="bg1"/>
                </a:solidFill>
                <a:latin typeface="Beeline Sans Black" panose="020B0A00040202020204" pitchFamily="34" charset="-52"/>
              </a:rPr>
              <a:t>3</a:t>
            </a:r>
            <a:endParaRPr lang="ru-RU" sz="4000" dirty="0">
              <a:solidFill>
                <a:schemeClr val="bg1"/>
              </a:solidFill>
              <a:latin typeface="Beeline Sans Black" panose="020B0A00040202020204" pitchFamily="34" charset="-52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607131" y="1950218"/>
            <a:ext cx="4520453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4000" dirty="0" smtClean="0">
                <a:solidFill>
                  <a:srgbClr val="000000"/>
                </a:solidFill>
                <a:latin typeface="Beeline Sans" panose="020B0500040202020204" pitchFamily="34" charset="-52"/>
              </a:rPr>
              <a:t>ознакомиться</a:t>
            </a:r>
            <a:br>
              <a:rPr lang="ru-RU" sz="4000" dirty="0" smtClean="0">
                <a:solidFill>
                  <a:srgbClr val="000000"/>
                </a:solidFill>
                <a:latin typeface="Beeline Sans" panose="020B0500040202020204" pitchFamily="34" charset="-52"/>
              </a:rPr>
            </a:br>
            <a:r>
              <a:rPr lang="ru-RU" sz="4000" dirty="0" smtClean="0">
                <a:solidFill>
                  <a:srgbClr val="000000"/>
                </a:solidFill>
                <a:latin typeface="Beeline Sans" panose="020B0500040202020204" pitchFamily="34" charset="-52"/>
              </a:rPr>
              <a:t>с </a:t>
            </a:r>
            <a:r>
              <a:rPr lang="ru-RU" sz="4000" dirty="0">
                <a:solidFill>
                  <a:srgbClr val="000000"/>
                </a:solidFill>
                <a:latin typeface="Beeline Sans" panose="020B0500040202020204" pitchFamily="34" charset="-52"/>
              </a:rPr>
              <a:t>условиями </a:t>
            </a:r>
            <a:r>
              <a:rPr lang="ru-RU" sz="4000" dirty="0" smtClean="0">
                <a:solidFill>
                  <a:srgbClr val="000000"/>
                </a:solidFill>
                <a:latin typeface="Beeline Sans" panose="020B0500040202020204" pitchFamily="34" charset="-52"/>
              </a:rPr>
              <a:t>приложения</a:t>
            </a:r>
            <a:br>
              <a:rPr lang="ru-RU" sz="4000" dirty="0" smtClean="0">
                <a:solidFill>
                  <a:srgbClr val="000000"/>
                </a:solidFill>
                <a:latin typeface="Beeline Sans" panose="020B0500040202020204" pitchFamily="34" charset="-52"/>
              </a:rPr>
            </a:br>
            <a:r>
              <a:rPr lang="ru-RU" sz="4000" dirty="0" smtClean="0">
                <a:solidFill>
                  <a:srgbClr val="000000"/>
                </a:solidFill>
                <a:latin typeface="Beeline Sans" panose="020B0500040202020204" pitchFamily="34" charset="-52"/>
              </a:rPr>
              <a:t>и </a:t>
            </a:r>
            <a:r>
              <a:rPr lang="ru-RU" sz="4000" dirty="0">
                <a:solidFill>
                  <a:srgbClr val="000000"/>
                </a:solidFill>
                <a:latin typeface="Beeline Sans" panose="020B0500040202020204" pitchFamily="34" charset="-52"/>
              </a:rPr>
              <a:t>нажать «Начать»</a:t>
            </a:r>
            <a:endParaRPr lang="ru-RU" sz="4000" dirty="0">
              <a:latin typeface="Beeline Sans" panose="020B0500040202020204" pitchFamily="34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128957099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flipH="1" flipV="1">
            <a:off x="4177694" y="0"/>
            <a:ext cx="7766612" cy="6627510"/>
          </a:xfrm>
          <a:prstGeom prst="rect">
            <a:avLst/>
          </a:prstGeom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9134" y="168837"/>
            <a:ext cx="4389499" cy="6520325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4681765" y="955541"/>
            <a:ext cx="553878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000" dirty="0" smtClean="0">
                <a:solidFill>
                  <a:schemeClr val="bg1"/>
                </a:solidFill>
                <a:latin typeface="Beeline Sans Black" panose="020B0A00040202020204" pitchFamily="34" charset="-52"/>
              </a:rPr>
              <a:t>4</a:t>
            </a:r>
            <a:endParaRPr lang="ru-RU" sz="4000" dirty="0">
              <a:solidFill>
                <a:schemeClr val="bg1"/>
              </a:solidFill>
              <a:latin typeface="Beeline Sans Black" panose="020B0A00040202020204" pitchFamily="34" charset="-52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607131" y="1950218"/>
            <a:ext cx="4520453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4000" dirty="0">
                <a:solidFill>
                  <a:srgbClr val="000000"/>
                </a:solidFill>
                <a:latin typeface="Beeline Sans" panose="020B0500040202020204" pitchFamily="34" charset="-52"/>
              </a:rPr>
              <a:t>в открывшемся окне </a:t>
            </a:r>
            <a:r>
              <a:rPr lang="ru-RU" sz="4000" dirty="0" smtClean="0">
                <a:solidFill>
                  <a:srgbClr val="000000"/>
                </a:solidFill>
                <a:latin typeface="Beeline Sans" panose="020B0500040202020204" pitchFamily="34" charset="-52"/>
              </a:rPr>
              <a:t>выбрать </a:t>
            </a:r>
            <a:r>
              <a:rPr lang="ru-RU" sz="4000" dirty="0">
                <a:solidFill>
                  <a:srgbClr val="000000"/>
                </a:solidFill>
                <a:latin typeface="Beeline Sans" panose="020B0500040202020204" pitchFamily="34" charset="-52"/>
              </a:rPr>
              <a:t>«войти в аккаунт»</a:t>
            </a:r>
            <a:endParaRPr lang="ru-RU" sz="4000" dirty="0">
              <a:latin typeface="Beeline Sans" panose="020B0500040202020204" pitchFamily="34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31511450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flipH="1" flipV="1">
            <a:off x="4177694" y="0"/>
            <a:ext cx="7766612" cy="6627510"/>
          </a:xfrm>
          <a:prstGeom prst="rect">
            <a:avLst/>
          </a:prstGeom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9134" y="168838"/>
            <a:ext cx="4389499" cy="6520323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4681765" y="955541"/>
            <a:ext cx="553878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000" dirty="0" smtClean="0">
                <a:solidFill>
                  <a:schemeClr val="bg1"/>
                </a:solidFill>
                <a:latin typeface="Beeline Sans Black" panose="020B0A00040202020204" pitchFamily="34" charset="-52"/>
              </a:rPr>
              <a:t>5</a:t>
            </a:r>
            <a:endParaRPr lang="ru-RU" sz="4000" dirty="0">
              <a:solidFill>
                <a:schemeClr val="bg1"/>
              </a:solidFill>
              <a:latin typeface="Beeline Sans Black" panose="020B0A00040202020204" pitchFamily="34" charset="-52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607131" y="1950218"/>
            <a:ext cx="4520453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4000" dirty="0">
                <a:solidFill>
                  <a:srgbClr val="000000"/>
                </a:solidFill>
                <a:latin typeface="Beeline Sans" panose="020B0500040202020204" pitchFamily="34" charset="-52"/>
              </a:rPr>
              <a:t>ввести свой новый </a:t>
            </a:r>
            <a:r>
              <a:rPr lang="ru-RU" sz="4000" dirty="0" smtClean="0">
                <a:solidFill>
                  <a:srgbClr val="000000"/>
                </a:solidFill>
                <a:latin typeface="Beeline Sans" panose="020B0500040202020204" pitchFamily="34" charset="-52"/>
              </a:rPr>
              <a:t>номер и </a:t>
            </a:r>
            <a:r>
              <a:rPr lang="ru-RU" sz="4000" dirty="0">
                <a:solidFill>
                  <a:srgbClr val="000000"/>
                </a:solidFill>
                <a:latin typeface="Beeline Sans" panose="020B0500040202020204" pitchFamily="34" charset="-52"/>
              </a:rPr>
              <a:t>нажать «получить код»</a:t>
            </a:r>
            <a:endParaRPr lang="ru-RU" sz="4000" dirty="0">
              <a:latin typeface="Beeline Sans" panose="020B0500040202020204" pitchFamily="34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422009811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flipH="1" flipV="1">
            <a:off x="4177694" y="0"/>
            <a:ext cx="7766612" cy="6627510"/>
          </a:xfrm>
          <a:prstGeom prst="rect">
            <a:avLst/>
          </a:prstGeom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02179" y="168838"/>
            <a:ext cx="4383409" cy="6520323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4681765" y="955541"/>
            <a:ext cx="553878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000" dirty="0" smtClean="0">
                <a:solidFill>
                  <a:schemeClr val="bg1"/>
                </a:solidFill>
                <a:latin typeface="Beeline Sans Black" panose="020B0A00040202020204" pitchFamily="34" charset="-52"/>
              </a:rPr>
              <a:t>6</a:t>
            </a:r>
            <a:endParaRPr lang="ru-RU" sz="4000" dirty="0">
              <a:solidFill>
                <a:schemeClr val="bg1"/>
              </a:solidFill>
              <a:latin typeface="Beeline Sans Black" panose="020B0A00040202020204" pitchFamily="34" charset="-52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607131" y="1950218"/>
            <a:ext cx="4520453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4000" dirty="0" smtClean="0">
                <a:solidFill>
                  <a:srgbClr val="000000"/>
                </a:solidFill>
                <a:latin typeface="Beeline Sans" panose="020B0500040202020204" pitchFamily="34" charset="-52"/>
              </a:rPr>
              <a:t>ввести разовый </a:t>
            </a:r>
            <a:r>
              <a:rPr lang="ru-RU" sz="4000" dirty="0">
                <a:solidFill>
                  <a:srgbClr val="000000"/>
                </a:solidFill>
                <a:latin typeface="Beeline Sans" panose="020B0500040202020204" pitchFamily="34" charset="-52"/>
              </a:rPr>
              <a:t>код для регистрации</a:t>
            </a:r>
            <a:endParaRPr lang="ru-RU" sz="4000" dirty="0">
              <a:latin typeface="Beeline Sans" panose="020B0500040202020204" pitchFamily="34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40741794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flipH="1" flipV="1">
            <a:off x="4177694" y="0"/>
            <a:ext cx="7766612" cy="6627510"/>
          </a:xfrm>
          <a:prstGeom prst="rect">
            <a:avLst/>
          </a:prstGeom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02179" y="173361"/>
            <a:ext cx="4383409" cy="6511277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4681765" y="955541"/>
            <a:ext cx="553878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000" dirty="0" smtClean="0">
                <a:solidFill>
                  <a:schemeClr val="bg1"/>
                </a:solidFill>
                <a:latin typeface="Beeline Sans Black" panose="020B0A00040202020204" pitchFamily="34" charset="-52"/>
              </a:rPr>
              <a:t>7</a:t>
            </a:r>
            <a:endParaRPr lang="ru-RU" sz="4000" dirty="0">
              <a:solidFill>
                <a:schemeClr val="bg1"/>
              </a:solidFill>
              <a:latin typeface="Beeline Sans Black" panose="020B0A00040202020204" pitchFamily="34" charset="-52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607131" y="1950218"/>
            <a:ext cx="4520453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4000" dirty="0">
                <a:solidFill>
                  <a:srgbClr val="000000"/>
                </a:solidFill>
                <a:latin typeface="Beeline Sans" panose="020B0500040202020204" pitchFamily="34" charset="-52"/>
              </a:rPr>
              <a:t>ГОТОВО </a:t>
            </a:r>
            <a:r>
              <a:rPr lang="ru-RU" sz="4000" dirty="0" smtClean="0">
                <a:solidFill>
                  <a:srgbClr val="000000"/>
                </a:solidFill>
                <a:latin typeface="Beeline Sans" panose="020B0500040202020204" pitchFamily="34" charset="-52"/>
              </a:rPr>
              <a:t>– можно </a:t>
            </a:r>
            <a:r>
              <a:rPr lang="ru-RU" sz="4000" dirty="0">
                <a:solidFill>
                  <a:srgbClr val="000000"/>
                </a:solidFill>
                <a:latin typeface="Beeline Sans" panose="020B0500040202020204" pitchFamily="34" charset="-52"/>
              </a:rPr>
              <a:t>пользоваться приложением</a:t>
            </a:r>
          </a:p>
          <a:p>
            <a:pPr algn="ctr"/>
            <a:r>
              <a:rPr lang="ru-RU" sz="4000" dirty="0">
                <a:solidFill>
                  <a:srgbClr val="000000"/>
                </a:solidFill>
                <a:latin typeface="Beeline Sans" panose="020B0500040202020204" pitchFamily="34" charset="-52"/>
              </a:rPr>
              <a:t>тарифа </a:t>
            </a:r>
            <a:r>
              <a:rPr lang="ru-RU" sz="4000" dirty="0" smtClean="0">
                <a:solidFill>
                  <a:srgbClr val="000000"/>
                </a:solidFill>
                <a:latin typeface="Beeline Sans" panose="020B0500040202020204" pitchFamily="34" charset="-52"/>
              </a:rPr>
              <a:t>План </a:t>
            </a:r>
            <a:r>
              <a:rPr lang="ru-RU" sz="4000" dirty="0">
                <a:solidFill>
                  <a:srgbClr val="000000"/>
                </a:solidFill>
                <a:latin typeface="Beeline Sans" panose="020B0500040202020204" pitchFamily="34" charset="-52"/>
              </a:rPr>
              <a:t>б</a:t>
            </a:r>
            <a:r>
              <a:rPr lang="ru-RU" sz="4000" dirty="0" smtClean="0">
                <a:solidFill>
                  <a:srgbClr val="000000"/>
                </a:solidFill>
                <a:latin typeface="Beeline Sans" panose="020B0500040202020204" pitchFamily="34" charset="-52"/>
              </a:rPr>
              <a:t>. </a:t>
            </a:r>
            <a:r>
              <a:rPr lang="en-US" sz="4000" dirty="0">
                <a:solidFill>
                  <a:srgbClr val="000000"/>
                </a:solidFill>
                <a:latin typeface="Beeline Sans" panose="020B0500040202020204" pitchFamily="34" charset="-52"/>
              </a:rPr>
              <a:t>kids</a:t>
            </a:r>
            <a:endParaRPr lang="ru-RU" sz="4000" dirty="0">
              <a:latin typeface="Beeline Sans" panose="020B0500040202020204" pitchFamily="34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234056549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flipH="1" flipV="1">
            <a:off x="4177694" y="0"/>
            <a:ext cx="7766612" cy="6627510"/>
          </a:xfrm>
          <a:prstGeom prst="rect">
            <a:avLst/>
          </a:prstGeom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02179" y="173361"/>
            <a:ext cx="4383408" cy="6511277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4681765" y="955541"/>
            <a:ext cx="553878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000" dirty="0" smtClean="0">
                <a:solidFill>
                  <a:schemeClr val="bg1"/>
                </a:solidFill>
                <a:latin typeface="Beeline Sans Black" panose="020B0A00040202020204" pitchFamily="34" charset="-52"/>
              </a:rPr>
              <a:t>1</a:t>
            </a:r>
            <a:endParaRPr lang="ru-RU" sz="4000" dirty="0">
              <a:solidFill>
                <a:schemeClr val="bg1"/>
              </a:solidFill>
              <a:latin typeface="Beeline Sans Black" panose="020B0A00040202020204" pitchFamily="34" charset="-52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358815" y="1950218"/>
            <a:ext cx="4722470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4000" dirty="0">
                <a:solidFill>
                  <a:srgbClr val="000000"/>
                </a:solidFill>
                <a:latin typeface="Beeline Sans" panose="020B0500040202020204" pitchFamily="34" charset="-52"/>
              </a:rPr>
              <a:t>в мини-приложении</a:t>
            </a:r>
          </a:p>
          <a:p>
            <a:pPr algn="ctr"/>
            <a:r>
              <a:rPr lang="ru-RU" sz="4000" dirty="0">
                <a:solidFill>
                  <a:srgbClr val="000000"/>
                </a:solidFill>
                <a:latin typeface="Beeline Sans" panose="020B0500040202020204" pitchFamily="34" charset="-52"/>
              </a:rPr>
              <a:t>тарифа </a:t>
            </a:r>
            <a:r>
              <a:rPr lang="ru-RU" sz="4000" dirty="0" smtClean="0">
                <a:solidFill>
                  <a:srgbClr val="000000"/>
                </a:solidFill>
                <a:latin typeface="Beeline Sans" panose="020B0500040202020204" pitchFamily="34" charset="-52"/>
              </a:rPr>
              <a:t>План </a:t>
            </a:r>
            <a:r>
              <a:rPr lang="ru-RU" sz="4000" dirty="0">
                <a:solidFill>
                  <a:srgbClr val="000000"/>
                </a:solidFill>
                <a:latin typeface="Beeline Sans" panose="020B0500040202020204" pitchFamily="34" charset="-52"/>
              </a:rPr>
              <a:t>б</a:t>
            </a:r>
            <a:r>
              <a:rPr lang="ru-RU" sz="4000" dirty="0" smtClean="0">
                <a:solidFill>
                  <a:srgbClr val="000000"/>
                </a:solidFill>
                <a:latin typeface="Beeline Sans" panose="020B0500040202020204" pitchFamily="34" charset="-52"/>
              </a:rPr>
              <a:t>. </a:t>
            </a:r>
            <a:r>
              <a:rPr lang="en-US" sz="4000" dirty="0" smtClean="0">
                <a:solidFill>
                  <a:srgbClr val="000000"/>
                </a:solidFill>
                <a:latin typeface="Beeline Sans" panose="020B0500040202020204" pitchFamily="34" charset="-52"/>
              </a:rPr>
              <a:t>kids</a:t>
            </a:r>
            <a:r>
              <a:rPr lang="ru-RU" sz="4000" dirty="0" smtClean="0">
                <a:solidFill>
                  <a:srgbClr val="000000"/>
                </a:solidFill>
                <a:latin typeface="Beeline Sans" panose="020B0500040202020204" pitchFamily="34" charset="-52"/>
              </a:rPr>
              <a:t> выбрать</a:t>
            </a:r>
            <a:endParaRPr lang="ru-RU" sz="4000" dirty="0">
              <a:solidFill>
                <a:srgbClr val="000000"/>
              </a:solidFill>
              <a:latin typeface="Beeline Sans" panose="020B0500040202020204" pitchFamily="34" charset="-52"/>
            </a:endParaRPr>
          </a:p>
          <a:p>
            <a:pPr algn="ctr"/>
            <a:r>
              <a:rPr lang="ru-RU" sz="4000" dirty="0">
                <a:solidFill>
                  <a:srgbClr val="000000"/>
                </a:solidFill>
                <a:latin typeface="Beeline Sans" panose="020B0500040202020204" pitchFamily="34" charset="-52"/>
              </a:rPr>
              <a:t>«новый чат с </a:t>
            </a:r>
            <a:r>
              <a:rPr lang="ru-RU" sz="4000" dirty="0" err="1">
                <a:solidFill>
                  <a:srgbClr val="000000"/>
                </a:solidFill>
                <a:latin typeface="Beeline Sans" panose="020B0500040202020204" pitchFamily="34" charset="-52"/>
              </a:rPr>
              <a:t>нейро</a:t>
            </a:r>
            <a:r>
              <a:rPr lang="ru-RU" sz="4000" dirty="0">
                <a:solidFill>
                  <a:srgbClr val="000000"/>
                </a:solidFill>
                <a:latin typeface="Beeline Sans" panose="020B0500040202020204" pitchFamily="34" charset="-52"/>
              </a:rPr>
              <a:t>»</a:t>
            </a:r>
            <a:endParaRPr lang="ru-RU" sz="4000" dirty="0">
              <a:latin typeface="Beeline Sans" panose="020B0500040202020204" pitchFamily="34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300736034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flipH="1" flipV="1">
            <a:off x="4177694" y="0"/>
            <a:ext cx="7766612" cy="6627510"/>
          </a:xfrm>
          <a:prstGeom prst="rect">
            <a:avLst/>
          </a:prstGeom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02179" y="173361"/>
            <a:ext cx="4383408" cy="6511276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4681765" y="955541"/>
            <a:ext cx="553878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000" dirty="0" smtClean="0">
                <a:solidFill>
                  <a:schemeClr val="bg1"/>
                </a:solidFill>
                <a:latin typeface="Beeline Sans Black" panose="020B0A00040202020204" pitchFamily="34" charset="-52"/>
              </a:rPr>
              <a:t>2</a:t>
            </a:r>
            <a:endParaRPr lang="ru-RU" sz="4000" dirty="0">
              <a:solidFill>
                <a:schemeClr val="bg1"/>
              </a:solidFill>
              <a:latin typeface="Beeline Sans Black" panose="020B0A00040202020204" pitchFamily="34" charset="-52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358815" y="1950218"/>
            <a:ext cx="4722470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4000" dirty="0">
                <a:solidFill>
                  <a:srgbClr val="000000"/>
                </a:solidFill>
                <a:latin typeface="Beeline Sans" panose="020B0500040202020204" pitchFamily="34" charset="-52"/>
              </a:rPr>
              <a:t>ознакомиться</a:t>
            </a:r>
          </a:p>
          <a:p>
            <a:pPr algn="ctr"/>
            <a:r>
              <a:rPr lang="ru-RU" sz="4000" dirty="0">
                <a:solidFill>
                  <a:srgbClr val="000000"/>
                </a:solidFill>
                <a:latin typeface="Beeline Sans" panose="020B0500040202020204" pitchFamily="34" charset="-52"/>
              </a:rPr>
              <a:t>с условиями оферты</a:t>
            </a:r>
          </a:p>
          <a:p>
            <a:pPr algn="ctr"/>
            <a:r>
              <a:rPr lang="ru-RU" sz="4000" dirty="0">
                <a:solidFill>
                  <a:srgbClr val="000000"/>
                </a:solidFill>
                <a:latin typeface="Beeline Sans" panose="020B0500040202020204" pitchFamily="34" charset="-52"/>
              </a:rPr>
              <a:t>и принять её</a:t>
            </a:r>
            <a:endParaRPr lang="ru-RU" sz="4000" dirty="0">
              <a:latin typeface="Beeline Sans" panose="020B0500040202020204" pitchFamily="34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202928051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IQfdqOIyhLPVAfvIXlKw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273</TotalTime>
  <Words>107</Words>
  <Application>Microsoft Office PowerPoint</Application>
  <PresentationFormat>Широкоэкранный</PresentationFormat>
  <Paragraphs>27</Paragraphs>
  <Slides>10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0</vt:i4>
      </vt:variant>
    </vt:vector>
  </HeadingPairs>
  <TitlesOfParts>
    <vt:vector size="17" baseType="lpstr">
      <vt:lpstr>Arial</vt:lpstr>
      <vt:lpstr>Beeline Sans</vt:lpstr>
      <vt:lpstr>Beeline Sans Black</vt:lpstr>
      <vt:lpstr>Calibri</vt:lpstr>
      <vt:lpstr>Calibri Light</vt:lpstr>
      <vt:lpstr>Тема Offic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Vimpelcom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Катмарова Екатерина Юрьевна</dc:creator>
  <cp:lastModifiedBy>Катмарова Екатерина Юрьевна</cp:lastModifiedBy>
  <cp:revision>129</cp:revision>
  <dcterms:created xsi:type="dcterms:W3CDTF">2025-02-17T06:13:53Z</dcterms:created>
  <dcterms:modified xsi:type="dcterms:W3CDTF">2025-09-01T11:52:58Z</dcterms:modified>
</cp:coreProperties>
</file>